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134.xml" ContentType="application/vnd.openxmlformats-officedocument.presentationml.slide+xml"/>
  <Override PartName="/ppt/tags/tag446.xml" ContentType="application/vnd.openxmlformats-officedocument.presentationml.tags+xml"/>
  <Override PartName="/ppt/tags/tag445.xml" ContentType="application/vnd.openxmlformats-officedocument.presentationml.tags+xml"/>
  <Override PartName="/ppt/notesSlides/notesSlide134.xml" ContentType="application/vnd.openxmlformats-officedocument.presentationml.notesSlide+xml"/>
  <Override PartName="/ppt/tags/tag447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06" r:id="rId13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134.xml" Id="rId137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38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34.xml.rels>&#65279;<?xml version="1.0" encoding="utf-8"?><Relationships xmlns="http://schemas.openxmlformats.org/package/2006/relationships"><Relationship Type="http://schemas.openxmlformats.org/officeDocument/2006/relationships/slide" Target="/ppt/slides/slide134.xml" Id="rId2" /><Relationship Type="http://schemas.openxmlformats.org/officeDocument/2006/relationships/notesMaster" Target="/ppt/notesMasters/notesMaster1.xml" Id="rId1" /></Relationships>
</file>

<file path=ppt/notesSlides/notesSlide1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33063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34.xml.rels>&#65279;<?xml version="1.0" encoding="utf-8"?><Relationships xmlns="http://schemas.openxmlformats.org/package/2006/relationships"><Relationship Type="http://schemas.openxmlformats.org/officeDocument/2006/relationships/image" Target="/ppt/media/image4.emf" Id="rId8" /><Relationship Type="http://schemas.openxmlformats.org/officeDocument/2006/relationships/tags" Target="/ppt/tags/tag446.xml" Id="rId3" /><Relationship Type="http://schemas.openxmlformats.org/officeDocument/2006/relationships/oleObject" Target="/ppt/embeddings/oleObject138.bin" Id="rId7" /><Relationship Type="http://schemas.openxmlformats.org/officeDocument/2006/relationships/tags" Target="/ppt/tags/tag445.xml" Id="rId2" /><Relationship Type="http://schemas.openxmlformats.org/officeDocument/2006/relationships/vmlDrawing" Target="/ppt/drawings/vmlDrawing138.vml" Id="rId1" /><Relationship Type="http://schemas.openxmlformats.org/officeDocument/2006/relationships/notesSlide" Target="/ppt/notesSlides/notesSlide134.xml" Id="rId6" /><Relationship Type="http://schemas.openxmlformats.org/officeDocument/2006/relationships/slideLayout" Target="/ppt/slideLayouts/slideLayout5.xml" Id="rId5" /><Relationship Type="http://schemas.openxmlformats.org/officeDocument/2006/relationships/tags" Target="/ppt/tags/tag447.xml" Id="rId4" /></Relationships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4106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71" name="think-cell 幻灯片" r:id="rId7" imgW="349" imgH="350" progId="TCLayout.ActiveDocument.1">
                  <p:embed/>
                </p:oleObj>
              </mc:Choice>
              <mc:Fallback>
                <p:oleObj name="think-cell 幻灯片" r:id="rId7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Circular text</a:t>
            </a:r>
          </a:p>
        </p:txBody>
      </p:sp>
      <p:cxnSp>
        <p:nvCxnSpPr>
          <p:cNvPr id="2" name="Gerade Verbindung 22">
            <a:extLst>
              <a:ext uri="{FF2B5EF4-FFF2-40B4-BE49-F238E27FC236}">
                <a16:creationId xmlns:a16="http://schemas.microsoft.com/office/drawing/2014/main" id="{0C8B2741-9AA1-5D32-4259-ECFD732583D9}"/>
              </a:ext>
            </a:extLst>
          </p:cNvPr>
          <p:cNvCxnSpPr>
            <a:cxnSpLocks/>
          </p:cNvCxnSpPr>
          <p:nvPr/>
        </p:nvCxnSpPr>
        <p:spPr bwMode="gray">
          <a:xfrm>
            <a:off x="425450" y="4312052"/>
            <a:ext cx="399876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 Verbindung 22">
            <a:extLst>
              <a:ext uri="{FF2B5EF4-FFF2-40B4-BE49-F238E27FC236}">
                <a16:creationId xmlns:a16="http://schemas.microsoft.com/office/drawing/2014/main" id="{3C3C01AC-742C-4A6A-BD64-87D773683002}"/>
              </a:ext>
            </a:extLst>
          </p:cNvPr>
          <p:cNvCxnSpPr>
            <a:cxnSpLocks/>
          </p:cNvCxnSpPr>
          <p:nvPr/>
        </p:nvCxnSpPr>
        <p:spPr bwMode="gray">
          <a:xfrm>
            <a:off x="425450" y="2061004"/>
            <a:ext cx="4924949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ECBD581B-70C9-E88B-CC71-FC14CA97C6A6}"/>
              </a:ext>
            </a:extLst>
          </p:cNvPr>
          <p:cNvSpPr txBox="1">
            <a:spLocks/>
          </p:cNvSpPr>
          <p:nvPr/>
        </p:nvSpPr>
        <p:spPr bwMode="gray">
          <a:xfrm>
            <a:off x="424163" y="1711302"/>
            <a:ext cx="4964335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800" cap="none"/>
              <a:t>Sample text</a:t>
            </a:r>
          </a:p>
        </p:txBody>
      </p:sp>
      <p:cxnSp>
        <p:nvCxnSpPr>
          <p:cNvPr id="6" name="Gerade Verbindung 22">
            <a:extLst>
              <a:ext uri="{FF2B5EF4-FFF2-40B4-BE49-F238E27FC236}">
                <a16:creationId xmlns:a16="http://schemas.microsoft.com/office/drawing/2014/main" id="{453393CD-4032-B6AB-2049-FAA2972DDB6F}"/>
              </a:ext>
            </a:extLst>
          </p:cNvPr>
          <p:cNvCxnSpPr>
            <a:cxnSpLocks/>
          </p:cNvCxnSpPr>
          <p:nvPr/>
        </p:nvCxnSpPr>
        <p:spPr bwMode="gray">
          <a:xfrm>
            <a:off x="6374351" y="2061004"/>
            <a:ext cx="5432582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22">
            <a:extLst>
              <a:ext uri="{FF2B5EF4-FFF2-40B4-BE49-F238E27FC236}">
                <a16:creationId xmlns:a16="http://schemas.microsoft.com/office/drawing/2014/main" id="{ABAC3888-9120-1A34-3EAF-184C0E7AE9D6}"/>
              </a:ext>
            </a:extLst>
          </p:cNvPr>
          <p:cNvCxnSpPr>
            <a:cxnSpLocks/>
          </p:cNvCxnSpPr>
          <p:nvPr/>
        </p:nvCxnSpPr>
        <p:spPr bwMode="gray">
          <a:xfrm>
            <a:off x="7665998" y="4312052"/>
            <a:ext cx="4140935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2C4ED233-F5AA-54FA-3894-000570735CDE}"/>
              </a:ext>
            </a:extLst>
          </p:cNvPr>
          <p:cNvSpPr txBox="1">
            <a:spLocks/>
          </p:cNvSpPr>
          <p:nvPr/>
        </p:nvSpPr>
        <p:spPr bwMode="gray">
          <a:xfrm>
            <a:off x="427654" y="3962350"/>
            <a:ext cx="4964335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800" cap="none"/>
              <a:t>Sample text</a:t>
            </a:r>
          </a:p>
        </p:txBody>
      </p:sp>
      <p:sp>
        <p:nvSpPr>
          <p:cNvPr id="11" name="Oval 52">
            <a:extLst>
              <a:ext uri="{FF2B5EF4-FFF2-40B4-BE49-F238E27FC236}">
                <a16:creationId xmlns:a16="http://schemas.microsoft.com/office/drawing/2014/main" id="{8545EE24-996D-B657-E56E-BD6291A607D8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4195762" y="1727313"/>
            <a:ext cx="3805238" cy="3803648"/>
          </a:xfrm>
          <a:prstGeom prst="ellipse">
            <a:avLst/>
          </a:prstGeom>
          <a:solidFill>
            <a:schemeClr val="bg1"/>
          </a:solidFill>
          <a:ln w="19050">
            <a:noFill/>
            <a:prstDash val="sysDot"/>
          </a:ln>
        </p:spPr>
        <p:txBody>
          <a:bodyPr wrap="none" anchor="ctr"/>
          <a:lstStyle>
            <a:lvl1pPr marL="177800" indent="-1778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6EA600"/>
              </a:solidFill>
              <a:effectLst/>
              <a:uLnTx/>
              <a:uFillTx/>
              <a:latin typeface="+mn-lt"/>
              <a:ea typeface="+mn-ea"/>
              <a:cs typeface="+mn-cs"/>
              <a:sym typeface="Futura"/>
            </a:endParaRPr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6EEEBFF8-1F41-0EA1-6452-C2C03ADFECFB}"/>
              </a:ext>
            </a:extLst>
          </p:cNvPr>
          <p:cNvSpPr txBox="1">
            <a:spLocks/>
          </p:cNvSpPr>
          <p:nvPr/>
        </p:nvSpPr>
        <p:spPr bwMode="gray">
          <a:xfrm>
            <a:off x="8343964" y="1711302"/>
            <a:ext cx="3467036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800" cap="none"/>
              <a:t>Sample text</a:t>
            </a:r>
          </a:p>
        </p:txBody>
      </p:sp>
      <p:sp>
        <p:nvSpPr>
          <p:cNvPr id="13" name="Textplatzhalter 13">
            <a:extLst>
              <a:ext uri="{FF2B5EF4-FFF2-40B4-BE49-F238E27FC236}">
                <a16:creationId xmlns:a16="http://schemas.microsoft.com/office/drawing/2014/main" id="{93953D87-547A-AFB6-E77D-3E97371D561A}"/>
              </a:ext>
            </a:extLst>
          </p:cNvPr>
          <p:cNvSpPr txBox="1">
            <a:spLocks/>
          </p:cNvSpPr>
          <p:nvPr/>
        </p:nvSpPr>
        <p:spPr bwMode="gray">
          <a:xfrm>
            <a:off x="8343964" y="3962350"/>
            <a:ext cx="3467036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800" cap="none"/>
              <a:t>Sample text</a:t>
            </a:r>
          </a:p>
        </p:txBody>
      </p:sp>
      <p:sp>
        <p:nvSpPr>
          <p:cNvPr id="14" name="Rechteck 21">
            <a:extLst>
              <a:ext uri="{FF2B5EF4-FFF2-40B4-BE49-F238E27FC236}">
                <a16:creationId xmlns:a16="http://schemas.microsoft.com/office/drawing/2014/main" id="{AF233544-DC36-ABEC-F456-F1D0CF9F88B6}"/>
              </a:ext>
            </a:extLst>
          </p:cNvPr>
          <p:cNvSpPr>
            <a:spLocks/>
          </p:cNvSpPr>
          <p:nvPr/>
        </p:nvSpPr>
        <p:spPr>
          <a:xfrm flipH="1">
            <a:off x="424163" y="2061004"/>
            <a:ext cx="3565076" cy="11974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Quis </a:t>
            </a:r>
            <a:r>
              <a:rPr lang="en-US" sz="1400" err="1">
                <a:solidFill>
                  <a:schemeClr val="tx1"/>
                </a:solidFill>
              </a:rPr>
              <a:t>nostrud</a:t>
            </a:r>
            <a:r>
              <a:rPr lang="en-US" sz="1400">
                <a:solidFill>
                  <a:schemeClr val="tx1"/>
                </a:solidFill>
              </a:rPr>
              <a:t> exercitation </a:t>
            </a:r>
            <a:r>
              <a:rPr lang="en-US" sz="1400" err="1">
                <a:solidFill>
                  <a:schemeClr val="tx1"/>
                </a:solidFill>
              </a:rPr>
              <a:t>ullamco</a:t>
            </a:r>
            <a:endParaRPr lang="en-US" sz="1400">
              <a:solidFill>
                <a:schemeClr val="tx1"/>
              </a:solidFill>
            </a:endParaRP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Duis </a:t>
            </a:r>
            <a:r>
              <a:rPr lang="en-US" sz="1400" err="1">
                <a:solidFill>
                  <a:schemeClr val="tx1"/>
                </a:solidFill>
              </a:rPr>
              <a:t>aute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irure</a:t>
            </a:r>
            <a:r>
              <a:rPr lang="en-US" sz="1400">
                <a:solidFill>
                  <a:schemeClr val="tx1"/>
                </a:solidFill>
              </a:rPr>
              <a:t> dolor </a:t>
            </a:r>
          </a:p>
        </p:txBody>
      </p:sp>
      <p:sp>
        <p:nvSpPr>
          <p:cNvPr id="15" name="Rechteck 22">
            <a:extLst>
              <a:ext uri="{FF2B5EF4-FFF2-40B4-BE49-F238E27FC236}">
                <a16:creationId xmlns:a16="http://schemas.microsoft.com/office/drawing/2014/main" id="{9A36A5F9-D098-55F9-CFBF-7386D3E6FD5A}"/>
              </a:ext>
            </a:extLst>
          </p:cNvPr>
          <p:cNvSpPr>
            <a:spLocks/>
          </p:cNvSpPr>
          <p:nvPr/>
        </p:nvSpPr>
        <p:spPr>
          <a:xfrm flipH="1">
            <a:off x="8343964" y="2061004"/>
            <a:ext cx="3467036" cy="11974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Quis </a:t>
            </a:r>
            <a:r>
              <a:rPr lang="en-US" sz="1400" err="1">
                <a:solidFill>
                  <a:schemeClr val="tx1"/>
                </a:solidFill>
              </a:rPr>
              <a:t>nostrud</a:t>
            </a:r>
            <a:r>
              <a:rPr lang="en-US" sz="1400">
                <a:solidFill>
                  <a:schemeClr val="tx1"/>
                </a:solidFill>
              </a:rPr>
              <a:t> exercitation </a:t>
            </a:r>
            <a:r>
              <a:rPr lang="en-US" sz="1400" err="1">
                <a:solidFill>
                  <a:schemeClr val="tx1"/>
                </a:solidFill>
              </a:rPr>
              <a:t>ullamco</a:t>
            </a:r>
            <a:endParaRPr lang="en-US" sz="1400">
              <a:solidFill>
                <a:schemeClr val="tx1"/>
              </a:solidFill>
            </a:endParaRP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Duis </a:t>
            </a:r>
            <a:r>
              <a:rPr lang="en-US" sz="1400" err="1">
                <a:solidFill>
                  <a:schemeClr val="tx1"/>
                </a:solidFill>
              </a:rPr>
              <a:t>aute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irure</a:t>
            </a:r>
            <a:r>
              <a:rPr lang="en-US" sz="1400">
                <a:solidFill>
                  <a:schemeClr val="tx1"/>
                </a:solidFill>
              </a:rPr>
              <a:t> dolor </a:t>
            </a:r>
          </a:p>
        </p:txBody>
      </p:sp>
      <p:sp>
        <p:nvSpPr>
          <p:cNvPr id="16" name="Rechteck 23">
            <a:extLst>
              <a:ext uri="{FF2B5EF4-FFF2-40B4-BE49-F238E27FC236}">
                <a16:creationId xmlns:a16="http://schemas.microsoft.com/office/drawing/2014/main" id="{257BAD02-6548-2048-65BF-1784AB6B0123}"/>
              </a:ext>
            </a:extLst>
          </p:cNvPr>
          <p:cNvSpPr>
            <a:spLocks/>
          </p:cNvSpPr>
          <p:nvPr/>
        </p:nvSpPr>
        <p:spPr>
          <a:xfrm flipH="1">
            <a:off x="427654" y="4312052"/>
            <a:ext cx="3565076" cy="11974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Quis </a:t>
            </a:r>
            <a:r>
              <a:rPr lang="en-US" sz="1400" err="1">
                <a:solidFill>
                  <a:schemeClr val="tx1"/>
                </a:solidFill>
              </a:rPr>
              <a:t>nostrud</a:t>
            </a:r>
            <a:r>
              <a:rPr lang="en-US" sz="1400">
                <a:solidFill>
                  <a:schemeClr val="tx1"/>
                </a:solidFill>
              </a:rPr>
              <a:t> exercitation </a:t>
            </a:r>
            <a:r>
              <a:rPr lang="en-US" sz="1400" err="1">
                <a:solidFill>
                  <a:schemeClr val="tx1"/>
                </a:solidFill>
              </a:rPr>
              <a:t>ullamco</a:t>
            </a:r>
            <a:endParaRPr lang="en-US" sz="1400">
              <a:solidFill>
                <a:schemeClr val="tx1"/>
              </a:solidFill>
            </a:endParaRP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Duis </a:t>
            </a:r>
            <a:r>
              <a:rPr lang="en-US" sz="1400" err="1">
                <a:solidFill>
                  <a:schemeClr val="tx1"/>
                </a:solidFill>
              </a:rPr>
              <a:t>aute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irure</a:t>
            </a:r>
            <a:r>
              <a:rPr lang="en-US" sz="1400">
                <a:solidFill>
                  <a:schemeClr val="tx1"/>
                </a:solidFill>
              </a:rPr>
              <a:t> dolor </a:t>
            </a:r>
          </a:p>
        </p:txBody>
      </p:sp>
      <p:sp>
        <p:nvSpPr>
          <p:cNvPr id="17" name="Rechteck 24">
            <a:extLst>
              <a:ext uri="{FF2B5EF4-FFF2-40B4-BE49-F238E27FC236}">
                <a16:creationId xmlns:a16="http://schemas.microsoft.com/office/drawing/2014/main" id="{EF7B6AC2-53C5-6623-0901-AD87F1AB3240}"/>
              </a:ext>
            </a:extLst>
          </p:cNvPr>
          <p:cNvSpPr>
            <a:spLocks/>
          </p:cNvSpPr>
          <p:nvPr/>
        </p:nvSpPr>
        <p:spPr>
          <a:xfrm flipH="1">
            <a:off x="8343964" y="4312052"/>
            <a:ext cx="3467036" cy="11974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Quis </a:t>
            </a:r>
            <a:r>
              <a:rPr lang="en-US" sz="1400" err="1">
                <a:solidFill>
                  <a:schemeClr val="tx1"/>
                </a:solidFill>
              </a:rPr>
              <a:t>nostrud</a:t>
            </a:r>
            <a:r>
              <a:rPr lang="en-US" sz="1400">
                <a:solidFill>
                  <a:schemeClr val="tx1"/>
                </a:solidFill>
              </a:rPr>
              <a:t> exercitation </a:t>
            </a:r>
            <a:r>
              <a:rPr lang="en-US" sz="1400" err="1">
                <a:solidFill>
                  <a:schemeClr val="tx1"/>
                </a:solidFill>
              </a:rPr>
              <a:t>ullamco</a:t>
            </a:r>
            <a:endParaRPr lang="en-US" sz="1400">
              <a:solidFill>
                <a:schemeClr val="tx1"/>
              </a:solidFill>
            </a:endParaRPr>
          </a:p>
          <a:p>
            <a:pPr marL="182563" indent="-18256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Duis </a:t>
            </a:r>
            <a:r>
              <a:rPr lang="en-US" sz="1400" err="1">
                <a:solidFill>
                  <a:schemeClr val="tx1"/>
                </a:solidFill>
              </a:rPr>
              <a:t>aute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irure</a:t>
            </a:r>
            <a:r>
              <a:rPr lang="en-US" sz="1400">
                <a:solidFill>
                  <a:schemeClr val="tx1"/>
                </a:solidFill>
              </a:rPr>
              <a:t> dolor </a:t>
            </a:r>
          </a:p>
        </p:txBody>
      </p:sp>
      <p:grpSp>
        <p:nvGrpSpPr>
          <p:cNvPr id="18" name="Gruppieren 35">
            <a:extLst>
              <a:ext uri="{FF2B5EF4-FFF2-40B4-BE49-F238E27FC236}">
                <a16:creationId xmlns:a16="http://schemas.microsoft.com/office/drawing/2014/main" id="{F76A76AA-82C7-49AC-D25D-A98642631FAC}"/>
              </a:ext>
            </a:extLst>
          </p:cNvPr>
          <p:cNvGrpSpPr>
            <a:grpSpLocks/>
          </p:cNvGrpSpPr>
          <p:nvPr/>
        </p:nvGrpSpPr>
        <p:grpSpPr>
          <a:xfrm>
            <a:off x="4273362" y="1811758"/>
            <a:ext cx="3650038" cy="3650038"/>
            <a:chOff x="3905250" y="1238250"/>
            <a:chExt cx="4378736" cy="4378736"/>
          </a:xfrm>
          <a:solidFill>
            <a:schemeClr val="bg2"/>
          </a:solidFill>
        </p:grpSpPr>
        <p:sp>
          <p:nvSpPr>
            <p:cNvPr id="19" name="Freihandform: Form 36">
              <a:extLst>
                <a:ext uri="{FF2B5EF4-FFF2-40B4-BE49-F238E27FC236}">
                  <a16:creationId xmlns:a16="http://schemas.microsoft.com/office/drawing/2014/main" id="{D2DAD850-2B18-403B-CCD0-B45589427BE3}"/>
                </a:ext>
              </a:extLst>
            </p:cNvPr>
            <p:cNvSpPr>
              <a:spLocks/>
            </p:cNvSpPr>
            <p:nvPr/>
          </p:nvSpPr>
          <p:spPr>
            <a:xfrm>
              <a:off x="3914965" y="3320319"/>
              <a:ext cx="2227230" cy="2296667"/>
            </a:xfrm>
            <a:custGeom>
              <a:avLst/>
              <a:gdLst>
                <a:gd name="connsiteX0" fmla="*/ 2211419 w 2227230"/>
                <a:gd name="connsiteY0" fmla="*/ 1496187 h 2296667"/>
                <a:gd name="connsiteX1" fmla="*/ 2179606 w 2227230"/>
                <a:gd name="connsiteY1" fmla="*/ 1496568 h 2296667"/>
                <a:gd name="connsiteX2" fmla="*/ 804577 w 2227230"/>
                <a:gd name="connsiteY2" fmla="*/ 306419 h 2296667"/>
                <a:gd name="connsiteX3" fmla="*/ 407765 w 2227230"/>
                <a:gd name="connsiteY3" fmla="*/ 0 h 2296667"/>
                <a:gd name="connsiteX4" fmla="*/ 0 w 2227230"/>
                <a:gd name="connsiteY4" fmla="*/ 314801 h 2296667"/>
                <a:gd name="connsiteX5" fmla="*/ 631508 w 2227230"/>
                <a:gd name="connsiteY5" fmla="*/ 1655350 h 2296667"/>
                <a:gd name="connsiteX6" fmla="*/ 2179606 w 2227230"/>
                <a:gd name="connsiteY6" fmla="*/ 2296668 h 2296667"/>
                <a:gd name="connsiteX7" fmla="*/ 2227231 w 2227230"/>
                <a:gd name="connsiteY7" fmla="*/ 2296192 h 2296667"/>
                <a:gd name="connsiteX8" fmla="*/ 1910429 w 2227230"/>
                <a:gd name="connsiteY8" fmla="*/ 1886045 h 2296667"/>
                <a:gd name="connsiteX9" fmla="*/ 2211324 w 2227230"/>
                <a:gd name="connsiteY9" fmla="*/ 1496282 h 229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7230" h="2296667">
                  <a:moveTo>
                    <a:pt x="2211419" y="1496187"/>
                  </a:moveTo>
                  <a:cubicBezTo>
                    <a:pt x="2200751" y="1496473"/>
                    <a:pt x="2190179" y="1496568"/>
                    <a:pt x="2179606" y="1496568"/>
                  </a:cubicBezTo>
                  <a:cubicBezTo>
                    <a:pt x="1490853" y="1496568"/>
                    <a:pt x="902494" y="986028"/>
                    <a:pt x="804577" y="306419"/>
                  </a:cubicBezTo>
                  <a:lnTo>
                    <a:pt x="407765" y="0"/>
                  </a:lnTo>
                  <a:lnTo>
                    <a:pt x="0" y="314801"/>
                  </a:lnTo>
                  <a:cubicBezTo>
                    <a:pt x="47244" y="819531"/>
                    <a:pt x="270986" y="1294829"/>
                    <a:pt x="631508" y="1655350"/>
                  </a:cubicBezTo>
                  <a:cubicBezTo>
                    <a:pt x="1045083" y="2068925"/>
                    <a:pt x="1594866" y="2296668"/>
                    <a:pt x="2179606" y="2296668"/>
                  </a:cubicBezTo>
                  <a:cubicBezTo>
                    <a:pt x="2195417" y="2296668"/>
                    <a:pt x="2211324" y="2296478"/>
                    <a:pt x="2227231" y="2296192"/>
                  </a:cubicBezTo>
                  <a:lnTo>
                    <a:pt x="1910429" y="1886045"/>
                  </a:lnTo>
                  <a:lnTo>
                    <a:pt x="2211324" y="149628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ihandform: Form 37">
              <a:extLst>
                <a:ext uri="{FF2B5EF4-FFF2-40B4-BE49-F238E27FC236}">
                  <a16:creationId xmlns:a16="http://schemas.microsoft.com/office/drawing/2014/main" id="{5F5E1181-C249-74EF-2FEE-DE42B53FEFAE}"/>
                </a:ext>
              </a:extLst>
            </p:cNvPr>
            <p:cNvSpPr>
              <a:spLocks/>
            </p:cNvSpPr>
            <p:nvPr/>
          </p:nvSpPr>
          <p:spPr>
            <a:xfrm>
              <a:off x="3905250" y="1246917"/>
              <a:ext cx="2303430" cy="2226754"/>
            </a:xfrm>
            <a:custGeom>
              <a:avLst/>
              <a:gdLst>
                <a:gd name="connsiteX0" fmla="*/ 476 w 2303430"/>
                <a:gd name="connsiteY0" fmla="*/ 2226755 h 2226754"/>
                <a:gd name="connsiteX1" fmla="*/ 417481 w 2303430"/>
                <a:gd name="connsiteY1" fmla="*/ 1904810 h 2226754"/>
                <a:gd name="connsiteX2" fmla="*/ 800195 w 2303430"/>
                <a:gd name="connsiteY2" fmla="*/ 2200370 h 2226754"/>
                <a:gd name="connsiteX3" fmla="*/ 800100 w 2303430"/>
                <a:gd name="connsiteY3" fmla="*/ 2180558 h 2226754"/>
                <a:gd name="connsiteX4" fmla="*/ 1991868 w 2303430"/>
                <a:gd name="connsiteY4" fmla="*/ 805339 h 2226754"/>
                <a:gd name="connsiteX5" fmla="*/ 2303431 w 2303430"/>
                <a:gd name="connsiteY5" fmla="*/ 401955 h 2226754"/>
                <a:gd name="connsiteX6" fmla="*/ 1993011 w 2303430"/>
                <a:gd name="connsiteY6" fmla="*/ 0 h 2226754"/>
                <a:gd name="connsiteX7" fmla="*/ 641223 w 2303430"/>
                <a:gd name="connsiteY7" fmla="*/ 632555 h 2226754"/>
                <a:gd name="connsiteX8" fmla="*/ 0 w 2303430"/>
                <a:gd name="connsiteY8" fmla="*/ 2180654 h 2226754"/>
                <a:gd name="connsiteX9" fmla="*/ 476 w 2303430"/>
                <a:gd name="connsiteY9" fmla="*/ 2226755 h 2226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03430" h="2226754">
                  <a:moveTo>
                    <a:pt x="476" y="2226755"/>
                  </a:moveTo>
                  <a:lnTo>
                    <a:pt x="417481" y="1904810"/>
                  </a:lnTo>
                  <a:lnTo>
                    <a:pt x="800195" y="2200370"/>
                  </a:lnTo>
                  <a:cubicBezTo>
                    <a:pt x="800195" y="2193798"/>
                    <a:pt x="800100" y="2187131"/>
                    <a:pt x="800100" y="2180558"/>
                  </a:cubicBezTo>
                  <a:cubicBezTo>
                    <a:pt x="800100" y="1490948"/>
                    <a:pt x="1311402" y="902589"/>
                    <a:pt x="1991868" y="805339"/>
                  </a:cubicBezTo>
                  <a:lnTo>
                    <a:pt x="2303431" y="401955"/>
                  </a:lnTo>
                  <a:lnTo>
                    <a:pt x="1993011" y="0"/>
                  </a:lnTo>
                  <a:cubicBezTo>
                    <a:pt x="1484090" y="45053"/>
                    <a:pt x="1004697" y="269177"/>
                    <a:pt x="641223" y="632555"/>
                  </a:cubicBezTo>
                  <a:cubicBezTo>
                    <a:pt x="227743" y="1046036"/>
                    <a:pt x="0" y="1595819"/>
                    <a:pt x="0" y="2180654"/>
                  </a:cubicBezTo>
                  <a:cubicBezTo>
                    <a:pt x="0" y="2196084"/>
                    <a:pt x="191" y="2211515"/>
                    <a:pt x="476" y="2226755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ihandform: Form 38">
              <a:extLst>
                <a:ext uri="{FF2B5EF4-FFF2-40B4-BE49-F238E27FC236}">
                  <a16:creationId xmlns:a16="http://schemas.microsoft.com/office/drawing/2014/main" id="{FE93452B-D8B0-2478-12DC-D845B4397550}"/>
                </a:ext>
              </a:extLst>
            </p:cNvPr>
            <p:cNvSpPr>
              <a:spLocks/>
            </p:cNvSpPr>
            <p:nvPr/>
          </p:nvSpPr>
          <p:spPr>
            <a:xfrm>
              <a:off x="6060186" y="1238250"/>
              <a:ext cx="2214943" cy="2296763"/>
            </a:xfrm>
            <a:custGeom>
              <a:avLst/>
              <a:gdLst>
                <a:gd name="connsiteX0" fmla="*/ 16192 w 2214943"/>
                <a:gd name="connsiteY0" fmla="*/ 800195 h 2296763"/>
                <a:gd name="connsiteX1" fmla="*/ 34385 w 2214943"/>
                <a:gd name="connsiteY1" fmla="*/ 800100 h 2296763"/>
                <a:gd name="connsiteX2" fmla="*/ 948880 w 2214943"/>
                <a:gd name="connsiteY2" fmla="*/ 1144334 h 2296763"/>
                <a:gd name="connsiteX3" fmla="*/ 1407700 w 2214943"/>
                <a:gd name="connsiteY3" fmla="*/ 1978533 h 2296763"/>
                <a:gd name="connsiteX4" fmla="*/ 1819751 w 2214943"/>
                <a:gd name="connsiteY4" fmla="*/ 2296763 h 2296763"/>
                <a:gd name="connsiteX5" fmla="*/ 2214944 w 2214943"/>
                <a:gd name="connsiteY5" fmla="*/ 1991678 h 2296763"/>
                <a:gd name="connsiteX6" fmla="*/ 1582484 w 2214943"/>
                <a:gd name="connsiteY6" fmla="*/ 641223 h 2296763"/>
                <a:gd name="connsiteX7" fmla="*/ 34385 w 2214943"/>
                <a:gd name="connsiteY7" fmla="*/ 0 h 2296763"/>
                <a:gd name="connsiteX8" fmla="*/ 0 w 2214943"/>
                <a:gd name="connsiteY8" fmla="*/ 286 h 2296763"/>
                <a:gd name="connsiteX9" fmla="*/ 317087 w 2214943"/>
                <a:gd name="connsiteY9" fmla="*/ 410718 h 2296763"/>
                <a:gd name="connsiteX10" fmla="*/ 16288 w 2214943"/>
                <a:gd name="connsiteY10" fmla="*/ 800195 h 2296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14943" h="2296763">
                  <a:moveTo>
                    <a:pt x="16192" y="800195"/>
                  </a:moveTo>
                  <a:cubicBezTo>
                    <a:pt x="22288" y="800195"/>
                    <a:pt x="28384" y="800100"/>
                    <a:pt x="34385" y="800100"/>
                  </a:cubicBezTo>
                  <a:cubicBezTo>
                    <a:pt x="370713" y="800100"/>
                    <a:pt x="695516" y="922306"/>
                    <a:pt x="948880" y="1144334"/>
                  </a:cubicBezTo>
                  <a:cubicBezTo>
                    <a:pt x="1195864" y="1360742"/>
                    <a:pt x="1358455" y="1656493"/>
                    <a:pt x="1407700" y="1978533"/>
                  </a:cubicBezTo>
                  <a:lnTo>
                    <a:pt x="1819751" y="2296763"/>
                  </a:lnTo>
                  <a:lnTo>
                    <a:pt x="2214944" y="1991678"/>
                  </a:lnTo>
                  <a:cubicBezTo>
                    <a:pt x="2169700" y="1483328"/>
                    <a:pt x="1945577" y="1004411"/>
                    <a:pt x="1582484" y="641223"/>
                  </a:cubicBezTo>
                  <a:cubicBezTo>
                    <a:pt x="1168908" y="227743"/>
                    <a:pt x="619125" y="0"/>
                    <a:pt x="34385" y="0"/>
                  </a:cubicBezTo>
                  <a:cubicBezTo>
                    <a:pt x="22860" y="0"/>
                    <a:pt x="11430" y="0"/>
                    <a:pt x="0" y="286"/>
                  </a:cubicBezTo>
                  <a:lnTo>
                    <a:pt x="317087" y="410718"/>
                  </a:lnTo>
                  <a:lnTo>
                    <a:pt x="16288" y="8001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ihandform: Form 41">
              <a:extLst>
                <a:ext uri="{FF2B5EF4-FFF2-40B4-BE49-F238E27FC236}">
                  <a16:creationId xmlns:a16="http://schemas.microsoft.com/office/drawing/2014/main" id="{D2E0DC42-1964-F883-B7B1-5BB49961257C}"/>
                </a:ext>
              </a:extLst>
            </p:cNvPr>
            <p:cNvSpPr>
              <a:spLocks/>
            </p:cNvSpPr>
            <p:nvPr/>
          </p:nvSpPr>
          <p:spPr>
            <a:xfrm>
              <a:off x="5993891" y="3391757"/>
              <a:ext cx="2290095" cy="2215515"/>
            </a:xfrm>
            <a:custGeom>
              <a:avLst/>
              <a:gdLst>
                <a:gd name="connsiteX0" fmla="*/ 2289810 w 2290095"/>
                <a:gd name="connsiteY0" fmla="*/ 0 h 2215515"/>
                <a:gd name="connsiteX1" fmla="*/ 1886045 w 2290095"/>
                <a:gd name="connsiteY1" fmla="*/ 311753 h 2215515"/>
                <a:gd name="connsiteX2" fmla="*/ 1489710 w 2290095"/>
                <a:gd name="connsiteY2" fmla="*/ 5620 h 2215515"/>
                <a:gd name="connsiteX3" fmla="*/ 1489996 w 2290095"/>
                <a:gd name="connsiteY3" fmla="*/ 35909 h 2215515"/>
                <a:gd name="connsiteX4" fmla="*/ 1146334 w 2290095"/>
                <a:gd name="connsiteY4" fmla="*/ 949738 h 2215515"/>
                <a:gd name="connsiteX5" fmla="*/ 313277 w 2290095"/>
                <a:gd name="connsiteY5" fmla="*/ 1408938 h 2215515"/>
                <a:gd name="connsiteX6" fmla="*/ 0 w 2290095"/>
                <a:gd name="connsiteY6" fmla="*/ 1814608 h 2215515"/>
                <a:gd name="connsiteX7" fmla="*/ 309658 w 2290095"/>
                <a:gd name="connsiteY7" fmla="*/ 2215515 h 2215515"/>
                <a:gd name="connsiteX8" fmla="*/ 1648778 w 2290095"/>
                <a:gd name="connsiteY8" fmla="*/ 1584008 h 2215515"/>
                <a:gd name="connsiteX9" fmla="*/ 2290096 w 2290095"/>
                <a:gd name="connsiteY9" fmla="*/ 35909 h 2215515"/>
                <a:gd name="connsiteX10" fmla="*/ 2289810 w 2290095"/>
                <a:gd name="connsiteY10" fmla="*/ 95 h 2215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90095" h="2215515">
                  <a:moveTo>
                    <a:pt x="2289810" y="0"/>
                  </a:moveTo>
                  <a:lnTo>
                    <a:pt x="1886045" y="311753"/>
                  </a:lnTo>
                  <a:lnTo>
                    <a:pt x="1489710" y="5620"/>
                  </a:lnTo>
                  <a:cubicBezTo>
                    <a:pt x="1489901" y="15716"/>
                    <a:pt x="1489996" y="25813"/>
                    <a:pt x="1489996" y="35909"/>
                  </a:cubicBezTo>
                  <a:cubicBezTo>
                    <a:pt x="1489996" y="371951"/>
                    <a:pt x="1367981" y="696468"/>
                    <a:pt x="1146334" y="949738"/>
                  </a:cubicBezTo>
                  <a:cubicBezTo>
                    <a:pt x="930307" y="1196626"/>
                    <a:pt x="634937" y="1359313"/>
                    <a:pt x="313277" y="1408938"/>
                  </a:cubicBezTo>
                  <a:lnTo>
                    <a:pt x="0" y="1814608"/>
                  </a:lnTo>
                  <a:lnTo>
                    <a:pt x="309658" y="2215515"/>
                  </a:lnTo>
                  <a:cubicBezTo>
                    <a:pt x="813626" y="2167986"/>
                    <a:pt x="1288447" y="1944243"/>
                    <a:pt x="1648778" y="1584008"/>
                  </a:cubicBezTo>
                  <a:cubicBezTo>
                    <a:pt x="2062353" y="1170432"/>
                    <a:pt x="2290096" y="620649"/>
                    <a:pt x="2290096" y="35909"/>
                  </a:cubicBezTo>
                  <a:cubicBezTo>
                    <a:pt x="2290096" y="24194"/>
                    <a:pt x="2290001" y="12192"/>
                    <a:pt x="2289810" y="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3" name="Oval 52">
            <a:extLst>
              <a:ext uri="{FF2B5EF4-FFF2-40B4-BE49-F238E27FC236}">
                <a16:creationId xmlns:a16="http://schemas.microsoft.com/office/drawing/2014/main" id="{D9913491-1A14-15A4-BF20-363A781520CA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4935733" y="2466975"/>
            <a:ext cx="2325296" cy="2324324"/>
          </a:xfrm>
          <a:prstGeom prst="ellipse">
            <a:avLst/>
          </a:prstGeom>
          <a:solidFill>
            <a:schemeClr val="bg1"/>
          </a:solidFill>
          <a:ln w="38100">
            <a:noFill/>
            <a:prstDash val="solid"/>
          </a:ln>
        </p:spPr>
        <p:txBody>
          <a:bodyPr wrap="none" anchor="ctr"/>
          <a:lstStyle>
            <a:lvl1pPr marL="177800" indent="-1778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Futura"/>
              </a:rPr>
              <a:t>Sample tex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Futura"/>
              </a:rPr>
              <a:t>Insert desired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Futura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Futura"/>
              </a:rPr>
              <a:t>text here</a:t>
            </a:r>
          </a:p>
        </p:txBody>
      </p:sp>
      <p:sp>
        <p:nvSpPr>
          <p:cNvPr id="24" name="Textplatzhalter 13">
            <a:extLst>
              <a:ext uri="{FF2B5EF4-FFF2-40B4-BE49-F238E27FC236}">
                <a16:creationId xmlns:a16="http://schemas.microsoft.com/office/drawing/2014/main" id="{101A2F0D-396A-C4FB-EDB7-001D1E9FF49E}"/>
              </a:ext>
            </a:extLst>
          </p:cNvPr>
          <p:cNvSpPr txBox="1">
            <a:spLocks/>
          </p:cNvSpPr>
          <p:nvPr/>
        </p:nvSpPr>
        <p:spPr bwMode="gray">
          <a:xfrm rot="18900000">
            <a:off x="4606743" y="2145491"/>
            <a:ext cx="2983274" cy="2986409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Up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25" name="Textplatzhalter 13">
            <a:extLst>
              <a:ext uri="{FF2B5EF4-FFF2-40B4-BE49-F238E27FC236}">
                <a16:creationId xmlns:a16="http://schemas.microsoft.com/office/drawing/2014/main" id="{1857AEA7-DEBB-4C44-71BE-0A474421D2C4}"/>
              </a:ext>
            </a:extLst>
          </p:cNvPr>
          <p:cNvSpPr txBox="1">
            <a:spLocks/>
          </p:cNvSpPr>
          <p:nvPr/>
        </p:nvSpPr>
        <p:spPr bwMode="gray">
          <a:xfrm rot="2700000">
            <a:off x="4606743" y="2145490"/>
            <a:ext cx="2983274" cy="2986409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Up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>
                <a:solidFill>
                  <a:schemeClr val="tx2"/>
                </a:solidFill>
              </a:rPr>
              <a:t>Text</a:t>
            </a:r>
          </a:p>
        </p:txBody>
      </p:sp>
      <p:sp>
        <p:nvSpPr>
          <p:cNvPr id="26" name="Textplatzhalter 13">
            <a:extLst>
              <a:ext uri="{FF2B5EF4-FFF2-40B4-BE49-F238E27FC236}">
                <a16:creationId xmlns:a16="http://schemas.microsoft.com/office/drawing/2014/main" id="{2BE66257-F7DC-76D4-AECD-B30C3BF1A46F}"/>
              </a:ext>
            </a:extLst>
          </p:cNvPr>
          <p:cNvSpPr txBox="1">
            <a:spLocks/>
          </p:cNvSpPr>
          <p:nvPr/>
        </p:nvSpPr>
        <p:spPr bwMode="gray">
          <a:xfrm rot="2700000">
            <a:off x="4606744" y="2145490"/>
            <a:ext cx="2983274" cy="2986409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Down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>
                <a:solidFill>
                  <a:schemeClr val="tx2"/>
                </a:solidFill>
              </a:rPr>
              <a:t>Text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51F9BFF0-07DF-CCF2-5DB7-3182D5F7FB6C}"/>
              </a:ext>
            </a:extLst>
          </p:cNvPr>
          <p:cNvSpPr txBox="1">
            <a:spLocks/>
          </p:cNvSpPr>
          <p:nvPr/>
        </p:nvSpPr>
        <p:spPr bwMode="gray">
          <a:xfrm rot="18900000">
            <a:off x="4606744" y="2145490"/>
            <a:ext cx="2983274" cy="2986409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Down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>
                <a:solidFill>
                  <a:schemeClr val="tx2"/>
                </a:solidFill>
              </a:rPr>
              <a:t>Text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4072DD45-B4E1-3997-6D63-C20A8C69FA58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2462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fr-FR" err="1">
                <a:solidFill>
                  <a:schemeClr val="tx2"/>
                </a:solidFill>
              </a:rPr>
              <a:t>circle</a:t>
            </a:r>
            <a:r>
              <a:rPr lang="fr-FR">
                <a:solidFill>
                  <a:schemeClr val="tx2"/>
                </a:solidFill>
              </a:rPr>
              <a:t>, </a:t>
            </a:r>
            <a:r>
              <a:rPr lang="fr-FR" err="1">
                <a:solidFill>
                  <a:schemeClr val="tx2"/>
                </a:solidFill>
              </a:rPr>
              <a:t>circles</a:t>
            </a:r>
            <a:r>
              <a:rPr lang="fr-FR">
                <a:solidFill>
                  <a:schemeClr val="tx2"/>
                </a:solidFill>
              </a:rPr>
              <a:t>, cycle, cycles, process, </a:t>
            </a:r>
            <a:r>
              <a:rPr lang="fr-FR" err="1">
                <a:solidFill>
                  <a:schemeClr val="tx2"/>
                </a:solidFill>
              </a:rPr>
              <a:t>processes</a:t>
            </a:r>
            <a:endParaRPr lang="fr-FR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99189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qu6PPRfjEOxN4czDL8Hm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qu6PPRfjEOxN4czDL8Hm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